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4"/>
  </p:notesMasterIdLst>
  <p:sldIdLst>
    <p:sldId id="772" r:id="rId2"/>
    <p:sldId id="793" r:id="rId3"/>
    <p:sldId id="794" r:id="rId4"/>
    <p:sldId id="795" r:id="rId5"/>
    <p:sldId id="796" r:id="rId6"/>
    <p:sldId id="797" r:id="rId7"/>
    <p:sldId id="798" r:id="rId8"/>
    <p:sldId id="799" r:id="rId9"/>
    <p:sldId id="800" r:id="rId10"/>
    <p:sldId id="812" r:id="rId11"/>
    <p:sldId id="802" r:id="rId12"/>
    <p:sldId id="803" r:id="rId13"/>
    <p:sldId id="804" r:id="rId14"/>
    <p:sldId id="814" r:id="rId15"/>
    <p:sldId id="805" r:id="rId16"/>
    <p:sldId id="806" r:id="rId17"/>
    <p:sldId id="813" r:id="rId18"/>
    <p:sldId id="807" r:id="rId19"/>
    <p:sldId id="808" r:id="rId20"/>
    <p:sldId id="809" r:id="rId21"/>
    <p:sldId id="810" r:id="rId22"/>
    <p:sldId id="778" r:id="rId23"/>
  </p:sldIdLst>
  <p:sldSz cx="12192000" cy="6858000"/>
  <p:notesSz cx="6797675" cy="9926638"/>
  <p:custDataLst>
    <p:tags r:id="rId25"/>
  </p:custDataLst>
  <p:defaultTextStyle>
    <a:defPPr>
      <a:defRPr lang="zh-CN"/>
    </a:defPPr>
    <a:lvl1pPr marL="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16">
          <p15:clr>
            <a:srgbClr val="A4A3A4"/>
          </p15:clr>
        </p15:guide>
        <p15:guide id="2" pos="381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w0500209" initials="kxg" lastIdx="1" clrIdx="0"/>
  <p:cmAuthor id="1" name="dengchao" initials="d" lastIdx="3" clrIdx="0"/>
  <p:cmAuthor id="2" name="张岩兴" initials="张岩兴" lastIdx="1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AEB2"/>
    <a:srgbClr val="FF8C00"/>
    <a:srgbClr val="000099"/>
    <a:srgbClr val="7F7F7F"/>
    <a:srgbClr val="082247"/>
    <a:srgbClr val="C2C0C1"/>
    <a:srgbClr val="072146"/>
    <a:srgbClr val="9C9C9D"/>
    <a:srgbClr val="F6F7F9"/>
    <a:srgbClr val="F8F9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480" autoAdjust="0"/>
    <p:restoredTop sz="90862" autoAdjust="0"/>
  </p:normalViewPr>
  <p:slideViewPr>
    <p:cSldViewPr snapToGrid="0">
      <p:cViewPr varScale="1">
        <p:scale>
          <a:sx n="70" d="100"/>
          <a:sy n="70" d="100"/>
        </p:scale>
        <p:origin x="596" y="56"/>
      </p:cViewPr>
      <p:guideLst>
        <p:guide orient="horz" pos="2216"/>
        <p:guide pos="38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748" y="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056"/>
          </a:xfrm>
          <a:prstGeom prst="rect">
            <a:avLst/>
          </a:prstGeom>
        </p:spPr>
        <p:txBody>
          <a:bodyPr vert="horz" lIns="91295" tIns="45648" rIns="91295" bIns="4564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295" tIns="45648" rIns="91295" bIns="45648" rtlCol="0"/>
          <a:lstStyle>
            <a:lvl1pPr algn="r">
              <a:defRPr sz="1200"/>
            </a:lvl1pPr>
          </a:lstStyle>
          <a:p>
            <a:fld id="{432274C5-6EC4-4FA0-B7E5-01BED7D27F31}" type="datetimeFigureOut">
              <a:rPr lang="zh-CN" altLang="en-US" smtClean="0"/>
              <a:t>2022/11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5" tIns="45648" rIns="91295" bIns="4564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3"/>
          </a:xfrm>
          <a:prstGeom prst="rect">
            <a:avLst/>
          </a:prstGeom>
        </p:spPr>
        <p:txBody>
          <a:bodyPr vert="horz" lIns="91295" tIns="45648" rIns="91295" bIns="4564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945659" cy="498055"/>
          </a:xfrm>
          <a:prstGeom prst="rect">
            <a:avLst/>
          </a:prstGeom>
        </p:spPr>
        <p:txBody>
          <a:bodyPr vert="horz" lIns="91295" tIns="45648" rIns="91295" bIns="4564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295" tIns="45648" rIns="91295" bIns="45648" rtlCol="0" anchor="b"/>
          <a:lstStyle>
            <a:lvl1pPr algn="r">
              <a:defRPr sz="1200"/>
            </a:lvl1pPr>
          </a:lstStyle>
          <a:p>
            <a:fld id="{3ACD9FEE-60D2-4A8E-8D8E-6E095DCD644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698404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696312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8837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496369" y="211301"/>
            <a:ext cx="10515600" cy="48945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72146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090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6"/>
          <a:ext cx="211139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6" name="think-cell Slide" r:id="rId4" imgW="8255" imgH="8255" progId="">
                  <p:embed/>
                </p:oleObj>
              </mc:Choice>
              <mc:Fallback>
                <p:oleObj name="think-cell Slide" r:id="rId4" imgW="8255" imgH="8255" progId="">
                  <p:embed/>
                  <p:pic>
                    <p:nvPicPr>
                      <p:cNvPr id="0" name="图片 73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"/>
                        <a:ext cx="211139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7"/>
          <p:cNvSpPr txBox="1">
            <a:spLocks noChangeArrowheads="1"/>
          </p:cNvSpPr>
          <p:nvPr userDrawn="1"/>
        </p:nvSpPr>
        <p:spPr bwMode="auto">
          <a:xfrm>
            <a:off x="5" y="6469069"/>
            <a:ext cx="2786063" cy="282500"/>
          </a:xfrm>
          <a:prstGeom prst="rect">
            <a:avLst/>
          </a:prstGeom>
          <a:noFill/>
          <a:ln>
            <a:noFill/>
          </a:ln>
          <a:effectLst/>
        </p:spPr>
        <p:txBody>
          <a:bodyPr lIns="96891" tIns="48444" rIns="96891" bIns="48444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ts val="0"/>
              </a:spcBef>
              <a:defRPr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逐梦世界  行稳致远</a:t>
            </a:r>
          </a:p>
        </p:txBody>
      </p:sp>
      <p:cxnSp>
        <p:nvCxnSpPr>
          <p:cNvPr id="10" name="直接连接符 9"/>
          <p:cNvCxnSpPr/>
          <p:nvPr userDrawn="1"/>
        </p:nvCxnSpPr>
        <p:spPr>
          <a:xfrm>
            <a:off x="222963" y="754992"/>
            <a:ext cx="11748556" cy="0"/>
          </a:xfrm>
          <a:prstGeom prst="line">
            <a:avLst/>
          </a:prstGeom>
          <a:ln w="19050">
            <a:solidFill>
              <a:srgbClr val="8A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 userDrawn="1"/>
        </p:nvCxnSpPr>
        <p:spPr bwMode="auto">
          <a:xfrm>
            <a:off x="370419" y="0"/>
            <a:ext cx="0" cy="68580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4" name="直接连接符 13"/>
          <p:cNvCxnSpPr/>
          <p:nvPr userDrawn="1"/>
        </p:nvCxnSpPr>
        <p:spPr bwMode="auto">
          <a:xfrm>
            <a:off x="11815897" y="-4504"/>
            <a:ext cx="0" cy="68580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5" name="直接连接符 14"/>
          <p:cNvCxnSpPr/>
          <p:nvPr userDrawn="1"/>
        </p:nvCxnSpPr>
        <p:spPr>
          <a:xfrm>
            <a:off x="456002" y="0"/>
            <a:ext cx="0" cy="685800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 userDrawn="1"/>
        </p:nvCxnSpPr>
        <p:spPr>
          <a:xfrm>
            <a:off x="11719194" y="22998"/>
            <a:ext cx="0" cy="685800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blipFill>
            <a:blip r:embed="rId6"/>
            <a:tile tx="0" ty="0" sx="100000" sy="100000" flip="none" algn="tl"/>
          </a:blipFill>
        </p:spPr>
      </p:pic>
      <p:pic>
        <p:nvPicPr>
          <p:cNvPr id="6" name="图片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灯片编号占位符 3"/>
          <p:cNvSpPr txBox="1"/>
          <p:nvPr userDrawn="1"/>
        </p:nvSpPr>
        <p:spPr>
          <a:xfrm>
            <a:off x="10101877" y="6572415"/>
            <a:ext cx="1296491" cy="305905"/>
          </a:xfrm>
          <a:prstGeom prst="rect">
            <a:avLst/>
          </a:prstGeom>
        </p:spPr>
        <p:txBody>
          <a:bodyPr lIns="0" tIns="0" rIns="0" bIns="0"/>
          <a:lstStyle>
            <a:lvl1pPr>
              <a:defRPr sz="11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900" b="0" kern="1200" dirty="0">
                <a:solidFill>
                  <a:srgbClr val="07214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Page </a:t>
            </a:r>
            <a:fld id="{21F5993E-B9C5-4D16-88AE-527C863CF041}" type="slidenum">
              <a:rPr lang="zh-CN" altLang="en-US" sz="900" b="0" kern="1200" smtClean="0">
                <a:solidFill>
                  <a:srgbClr val="07214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‹#›</a:t>
            </a:fld>
            <a:r>
              <a:rPr lang="zh-CN" altLang="en-US" sz="900" b="0" kern="1200" dirty="0">
                <a:solidFill>
                  <a:srgbClr val="07214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  </a:t>
            </a:r>
          </a:p>
        </p:txBody>
      </p:sp>
      <p:sp>
        <p:nvSpPr>
          <p:cNvPr id="15" name="文本框 14"/>
          <p:cNvSpPr txBox="1"/>
          <p:nvPr userDrawn="1"/>
        </p:nvSpPr>
        <p:spPr>
          <a:xfrm>
            <a:off x="10851722" y="6492911"/>
            <a:ext cx="914400" cy="279887"/>
          </a:xfrm>
          <a:prstGeom prst="rect">
            <a:avLst/>
          </a:prstGeom>
        </p:spPr>
        <p:txBody>
          <a:bodyPr vert="horz" wrap="none" lIns="36000" tIns="36000" rIns="36000" bIns="36000" rtlCol="0" anchor="t" anchorCtr="0">
            <a:noAutofit/>
          </a:bodyPr>
          <a:lstStyle/>
          <a:p>
            <a:pPr algn="r" defTabSz="914400">
              <a:lnSpc>
                <a:spcPct val="150000"/>
              </a:lnSpc>
              <a:spcBef>
                <a:spcPct val="0"/>
              </a:spcBef>
            </a:pPr>
            <a:r>
              <a:rPr lang="en-US" altLang="zh-CN" sz="900" b="0" dirty="0">
                <a:solidFill>
                  <a:srgbClr val="07214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/ </a:t>
            </a:r>
            <a:r>
              <a:rPr lang="ru-RU" altLang="zh-CN" sz="900" b="0" dirty="0" smtClean="0">
                <a:solidFill>
                  <a:srgbClr val="07214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2</a:t>
            </a:r>
            <a:endParaRPr lang="zh-CN" altLang="en-US" sz="900" b="0" dirty="0">
              <a:solidFill>
                <a:srgbClr val="07214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>
            <a:off x="2347275" y="6638403"/>
            <a:ext cx="835214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6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24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Font typeface="Wingdings" panose="05000000000000000000" pitchFamily="2" charset="2"/>
        <a:buChar char="Ø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/>
          <p:cNvSpPr txBox="1"/>
          <p:nvPr/>
        </p:nvSpPr>
        <p:spPr>
          <a:xfrm>
            <a:off x="4649816" y="3898398"/>
            <a:ext cx="3388607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zh-CN" sz="4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**</a:t>
            </a:r>
          </a:p>
          <a:p>
            <a:pPr algn="ctr"/>
            <a:r>
              <a:rPr lang="ru-RU" altLang="zh-CN" sz="1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ДД/ММ/ГГГГ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411833" y="2327836"/>
            <a:ext cx="1135118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altLang="zh-CN" sz="4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ЗАЯВКА НА ДИЛЕРСТВО ОТ КАНДИДАТА</a:t>
            </a:r>
            <a:endParaRPr lang="en-US" altLang="zh-CN" sz="4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1105861"/>
              </p:ext>
            </p:extLst>
          </p:nvPr>
        </p:nvGraphicFramePr>
        <p:xfrm>
          <a:off x="964549" y="919974"/>
          <a:ext cx="5021470" cy="4198781"/>
        </p:xfrm>
        <a:graphic>
          <a:graphicData uri="http://schemas.openxmlformats.org/drawingml/2006/table">
            <a:tbl>
              <a:tblPr/>
              <a:tblGrid>
                <a:gridCol w="28611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200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200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2009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8004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тдел продаж а/м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0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1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2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зничные продажи Штуки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зничные продажи Выручка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озничные продажи Валовая Прибыль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товые продажи Штуки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товые продажи Выручка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товые продажи Валовая Прибыль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87395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ходы от продажи страховых/кредитных услуг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а аксессуаров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66499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чие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ход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менные расходы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на персонал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стоянные расходы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780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прибыль от продаж новых а/м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8004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тдел продаж подержанных а/м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0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1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2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Штуки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Выручка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Валовая Прибыль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ругие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ход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еменные расходы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на персонал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45522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стоянные расходы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2873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прибыль от продаж подержанных а/м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3"/>
                  </a:ext>
                </a:extLst>
              </a:tr>
            </a:tbl>
          </a:graphicData>
        </a:graphic>
      </p:graphicFrame>
      <p:graphicFrame>
        <p:nvGraphicFramePr>
          <p:cNvPr id="5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9589910"/>
              </p:ext>
            </p:extLst>
          </p:nvPr>
        </p:nvGraphicFramePr>
        <p:xfrm>
          <a:off x="6230325" y="906684"/>
          <a:ext cx="4413290" cy="5512402"/>
        </p:xfrm>
        <a:graphic>
          <a:graphicData uri="http://schemas.openxmlformats.org/drawingml/2006/table">
            <a:tbl>
              <a:tblPr/>
              <a:tblGrid>
                <a:gridCol w="251464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3288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3288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3288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405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Механический цех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0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1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2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Часы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Заказ наряды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Выручка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Валовая Прибыль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ругие дохды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на персонал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стоянные расходы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прибыль механического цеха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405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узовной цех (при наличии)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0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1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2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Часы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Заказ наряды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Выручка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Валовая Прибыль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ругие дохды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на персонал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стоянные расходы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прибыль кузовного цеха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3405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одажи з/ч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0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1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2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з/ч выручка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з/ч прибыль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аксессуаров выручка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3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жи аксессуаров прибыль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4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ругие доходы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5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на персонал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6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стоянные расходы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7"/>
                  </a:ext>
                </a:extLst>
              </a:tr>
              <a:tr h="172718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прибыль от продажи з/ч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8"/>
                  </a:ext>
                </a:extLst>
              </a:tr>
            </a:tbl>
          </a:graphicData>
        </a:graphic>
      </p:graphicFrame>
      <p:graphicFrame>
        <p:nvGraphicFramePr>
          <p:cNvPr id="6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100197"/>
              </p:ext>
            </p:extLst>
          </p:nvPr>
        </p:nvGraphicFramePr>
        <p:xfrm>
          <a:off x="964549" y="5208317"/>
          <a:ext cx="5021470" cy="1210770"/>
        </p:xfrm>
        <a:graphic>
          <a:graphicData uri="http://schemas.openxmlformats.org/drawingml/2006/table">
            <a:tbl>
              <a:tblPr/>
              <a:tblGrid>
                <a:gridCol w="28811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087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4087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5855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9694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вые данные</a:t>
                      </a: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0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1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2022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230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 прибыль отделов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5230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дминистративные расходы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5230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на собственность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5230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центы уплаченные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5230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чие расходы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52304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того чистая прибыль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ериод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3528" marR="3528" marT="3528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AEB2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2" name="矩形 1"/>
          <p:cNvSpPr/>
          <p:nvPr/>
        </p:nvSpPr>
        <p:spPr>
          <a:xfrm>
            <a:off x="488192" y="275028"/>
            <a:ext cx="8419292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2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ПРОГНОЗНЫЙ ОТЧЕТ О ПРИБЫЛЯХ И УБЫТКАХ</a:t>
            </a:r>
            <a:endParaRPr lang="zh-CN" altLang="en-US" sz="2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66272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90227" y="219432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НФОРМАЦИЯ О ПРЕДЛОЖЕНИИ</a:t>
            </a:r>
          </a:p>
        </p:txBody>
      </p:sp>
      <p:graphicFrame>
        <p:nvGraphicFramePr>
          <p:cNvPr id="3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878802"/>
              </p:ext>
            </p:extLst>
          </p:nvPr>
        </p:nvGraphicFramePr>
        <p:xfrm>
          <a:off x="294313" y="905291"/>
          <a:ext cx="11233151" cy="5210512"/>
        </p:xfrm>
        <a:graphic>
          <a:graphicData uri="http://schemas.openxmlformats.org/drawingml/2006/table">
            <a:tbl>
              <a:tblPr/>
              <a:tblGrid>
                <a:gridCol w="12478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93643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04883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4008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Формат организации здания  (</a:t>
                      </a:r>
                      <a:r>
                        <a:rPr kumimoji="0" lang="ru-RU" sz="1200" b="0" i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нужное подчеркнуть)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sng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572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Тип дилерского центра </a:t>
                      </a:r>
                      <a:r>
                        <a:rPr kumimoji="0" lang="ru-RU" sz="12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нужное подчеркнуть)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57200">
                <a:tc rowSpan="6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Данные по помещению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Адрес центра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028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Статус собственности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320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Размер земельного участка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509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Шоурум 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Размер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: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Длина Х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Ширина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34290" marB="3429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400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Слесарный цех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/>
                      </a:r>
                      <a:b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</a:b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Размер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: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Длина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Х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Ширина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34290" marB="3429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668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Склад 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Размер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: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Длина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Х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Ширина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T="34290" marB="3429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54412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Наличие коммуникаций (электричество, вода, отопление)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19091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Срок готовности к запуску центра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4791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40805" y="166271"/>
            <a:ext cx="8047396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2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СРОКИ ВВОДА ОБЪЕКТА В ЭКСПЛУАТАЦИЮ</a:t>
            </a:r>
            <a:endParaRPr lang="zh-CN" altLang="en-US" sz="2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1482603"/>
              </p:ext>
            </p:extLst>
          </p:nvPr>
        </p:nvGraphicFramePr>
        <p:xfrm>
          <a:off x="275926" y="952105"/>
          <a:ext cx="11205920" cy="5024486"/>
        </p:xfrm>
        <a:graphic>
          <a:graphicData uri="http://schemas.openxmlformats.org/drawingml/2006/table">
            <a:tbl>
              <a:tblPr/>
              <a:tblGrid>
                <a:gridCol w="620275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6831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3484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518630"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Сроки и этапы строительства</a:t>
                      </a:r>
                      <a:endParaRPr kumimoji="0" lang="ru-RU" sz="1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8831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Этапы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Начало этапа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Завершение этапа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8940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Проектирование/получение разрешительной документации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мм/гггг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мм/гггг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1424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Земельные работы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Фундаментальные работы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Закрытие теплового контура задания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Возведение внутренних стен и перегородок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Проведение внутренних отделочных работ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Готовность к техническому аудиту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56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Начало операционной деятельности центра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2521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99371" y="201144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КАРТА РОССИИ</a:t>
            </a:r>
          </a:p>
        </p:txBody>
      </p:sp>
      <p:pic>
        <p:nvPicPr>
          <p:cNvPr id="10" name="Рисунок 27">
            <a:extLst>
              <a:ext uri="{FF2B5EF4-FFF2-40B4-BE49-F238E27FC236}">
                <a16:creationId xmlns="" xmlns:a16="http://schemas.microsoft.com/office/drawing/2014/main" id="{6C0E06F7-F810-CC2A-FFD0-0F3F9DBFD8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090" y="890019"/>
            <a:ext cx="9516153" cy="5512922"/>
          </a:xfrm>
          <a:prstGeom prst="rect">
            <a:avLst/>
          </a:prstGeom>
        </p:spPr>
      </p:pic>
      <p:sp>
        <p:nvSpPr>
          <p:cNvPr id="5" name="직사각형 3"/>
          <p:cNvSpPr/>
          <p:nvPr/>
        </p:nvSpPr>
        <p:spPr>
          <a:xfrm>
            <a:off x="7256163" y="1045467"/>
            <a:ext cx="3096344" cy="504056"/>
          </a:xfrm>
          <a:prstGeom prst="rect">
            <a:avLst/>
          </a:prstGeom>
          <a:solidFill>
            <a:srgbClr val="39AEB2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 smtClean="0"/>
              <a:t>Пример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2043020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460248" y="123998"/>
            <a:ext cx="953414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zh-CN" sz="2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КАРТА ГОРОДА </a:t>
            </a:r>
            <a:r>
              <a:rPr lang="ru-RU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Также нанесите расположение других брендов) 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900" y="944730"/>
            <a:ext cx="8446228" cy="54640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4"/>
          <p:cNvSpPr txBox="1"/>
          <p:nvPr/>
        </p:nvSpPr>
        <p:spPr>
          <a:xfrm>
            <a:off x="2081940" y="1204592"/>
            <a:ext cx="2160240" cy="1015663"/>
          </a:xfrm>
          <a:prstGeom prst="rect">
            <a:avLst/>
          </a:prstGeom>
          <a:solidFill>
            <a:schemeClr val="bg1"/>
          </a:solidFill>
          <a:ln w="34925">
            <a:solidFill>
              <a:srgbClr val="39AEB2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ru-RU" sz="1200" dirty="0">
                <a:ea typeface="Modern H Medium" panose="020B0603000000020004" pitchFamily="34" charset="-128"/>
              </a:rPr>
              <a:t>Указать </a:t>
            </a:r>
            <a:r>
              <a:rPr lang="ru-RU" sz="1200" dirty="0" smtClean="0">
                <a:ea typeface="Modern H Medium" panose="020B0603000000020004" pitchFamily="34" charset="-128"/>
              </a:rPr>
              <a:t>расстояния от места нахождения здания по заявке до Ближайших существующих центров</a:t>
            </a:r>
          </a:p>
          <a:p>
            <a:r>
              <a:rPr lang="en-US" sz="1200" dirty="0" smtClean="0">
                <a:ea typeface="Modern H Medium" panose="020B0603000000020004" pitchFamily="34" charset="-128"/>
              </a:rPr>
              <a:t>Chery, </a:t>
            </a:r>
            <a:r>
              <a:rPr lang="en-US" sz="1200" dirty="0" err="1" smtClean="0">
                <a:ea typeface="Modern H Medium" panose="020B0603000000020004" pitchFamily="34" charset="-128"/>
              </a:rPr>
              <a:t>Lifan</a:t>
            </a:r>
            <a:r>
              <a:rPr lang="en-US" sz="1200" dirty="0" smtClean="0">
                <a:ea typeface="Modern H Medium" panose="020B0603000000020004" pitchFamily="34" charset="-128"/>
              </a:rPr>
              <a:t>, Lada, Renault</a:t>
            </a:r>
            <a:endParaRPr lang="ru-RU" sz="1200" dirty="0">
              <a:ea typeface="Modern H Medium" panose="020B0603000000020004" pitchFamily="34" charset="-128"/>
            </a:endParaRPr>
          </a:p>
        </p:txBody>
      </p:sp>
      <p:sp>
        <p:nvSpPr>
          <p:cNvPr id="17" name="Выноска 2 5"/>
          <p:cNvSpPr/>
          <p:nvPr/>
        </p:nvSpPr>
        <p:spPr>
          <a:xfrm>
            <a:off x="3830470" y="5676639"/>
            <a:ext cx="2150166" cy="561656"/>
          </a:xfrm>
          <a:prstGeom prst="borderCallout2">
            <a:avLst>
              <a:gd name="adj1" fmla="val 21235"/>
              <a:gd name="adj2" fmla="val 100317"/>
              <a:gd name="adj3" fmla="val -78483"/>
              <a:gd name="adj4" fmla="val 131396"/>
              <a:gd name="adj5" fmla="val -330711"/>
              <a:gd name="adj6" fmla="val 133042"/>
            </a:avLst>
          </a:prstGeom>
          <a:solidFill>
            <a:srgbClr val="39AEB2">
              <a:alpha val="40000"/>
            </a:srgbClr>
          </a:solidFill>
          <a:ln w="22225">
            <a:solidFill>
              <a:srgbClr val="CA0010"/>
            </a:solidFill>
            <a:tailEnd type="oval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Предложение</a:t>
            </a:r>
            <a:endParaRPr lang="ru-RU" sz="2400" dirty="0">
              <a:solidFill>
                <a:schemeClr val="bg1"/>
              </a:solidFill>
            </a:endParaRPr>
          </a:p>
        </p:txBody>
      </p:sp>
      <p:cxnSp>
        <p:nvCxnSpPr>
          <p:cNvPr id="18" name="Прямая со стрелкой 6"/>
          <p:cNvCxnSpPr/>
          <p:nvPr/>
        </p:nvCxnSpPr>
        <p:spPr>
          <a:xfrm>
            <a:off x="5903976" y="3804431"/>
            <a:ext cx="634543" cy="0"/>
          </a:xfrm>
          <a:prstGeom prst="straightConnector1">
            <a:avLst/>
          </a:prstGeom>
          <a:ln w="31750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7"/>
          <p:cNvSpPr txBox="1"/>
          <p:nvPr/>
        </p:nvSpPr>
        <p:spPr>
          <a:xfrm>
            <a:off x="5980636" y="3485566"/>
            <a:ext cx="4812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FF0000"/>
                </a:solidFill>
              </a:rPr>
              <a:t>8км</a:t>
            </a:r>
            <a:endParaRPr lang="ru-RU" sz="1400" dirty="0">
              <a:solidFill>
                <a:srgbClr val="FF0000"/>
              </a:solidFill>
            </a:endParaRPr>
          </a:p>
        </p:txBody>
      </p:sp>
      <p:cxnSp>
        <p:nvCxnSpPr>
          <p:cNvPr id="20" name="Прямая со стрелкой 8"/>
          <p:cNvCxnSpPr/>
          <p:nvPr/>
        </p:nvCxnSpPr>
        <p:spPr>
          <a:xfrm flipV="1">
            <a:off x="6402420" y="3804431"/>
            <a:ext cx="136099" cy="504056"/>
          </a:xfrm>
          <a:prstGeom prst="straightConnector1">
            <a:avLst/>
          </a:prstGeom>
          <a:ln w="31750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9"/>
          <p:cNvSpPr txBox="1"/>
          <p:nvPr/>
        </p:nvSpPr>
        <p:spPr>
          <a:xfrm rot="17107353">
            <a:off x="6119236" y="3858344"/>
            <a:ext cx="4812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r>
              <a:rPr lang="ru-RU" sz="1400" dirty="0" smtClean="0">
                <a:solidFill>
                  <a:srgbClr val="FF0000"/>
                </a:solidFill>
              </a:rPr>
              <a:t>8км</a:t>
            </a:r>
            <a:endParaRPr lang="ru-RU" sz="1400" dirty="0">
              <a:solidFill>
                <a:srgbClr val="FF0000"/>
              </a:solidFill>
            </a:endParaRPr>
          </a:p>
        </p:txBody>
      </p:sp>
      <p:cxnSp>
        <p:nvCxnSpPr>
          <p:cNvPr id="22" name="Прямая со стрелкой 10"/>
          <p:cNvCxnSpPr/>
          <p:nvPr/>
        </p:nvCxnSpPr>
        <p:spPr>
          <a:xfrm flipV="1">
            <a:off x="6622869" y="2220255"/>
            <a:ext cx="283607" cy="1573088"/>
          </a:xfrm>
          <a:prstGeom prst="straightConnector1">
            <a:avLst/>
          </a:prstGeom>
          <a:ln w="31750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직사각형 3"/>
          <p:cNvSpPr/>
          <p:nvPr/>
        </p:nvSpPr>
        <p:spPr>
          <a:xfrm>
            <a:off x="4600343" y="1572183"/>
            <a:ext cx="3096344" cy="504056"/>
          </a:xfrm>
          <a:prstGeom prst="rect">
            <a:avLst/>
          </a:prstGeom>
          <a:solidFill>
            <a:srgbClr val="39AEB2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 smtClean="0"/>
              <a:t>Пример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617952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B7FB9DB-A5E2-56B8-BDD9-FAE0CD64AD5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26803" y="192000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КАРТА </a:t>
            </a:r>
            <a:r>
              <a:rPr lang="ru-RU" sz="2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РАЙОНА</a:t>
            </a:r>
            <a:endParaRPr lang="ru-RU" sz="2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3" name="Рисунок 1">
            <a:extLst>
              <a:ext uri="{FF2B5EF4-FFF2-40B4-BE49-F238E27FC236}">
                <a16:creationId xmlns="" xmlns:a16="http://schemas.microsoft.com/office/drawing/2014/main" id="{5F0AEF08-B55C-B8B4-4E3C-F631C265E1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9004" y="1188262"/>
            <a:ext cx="11265036" cy="4859588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 rot="20534377">
            <a:off x="3005091" y="2686963"/>
            <a:ext cx="2272407" cy="726513"/>
          </a:xfrm>
          <a:prstGeom prst="rect">
            <a:avLst/>
          </a:prstGeom>
          <a:noFill/>
          <a:ln w="28575">
            <a:solidFill>
              <a:srgbClr val="FF0000"/>
            </a:solidFill>
            <a:prstDash val="soli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endParaRPr lang="ru-RU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Прямоугольник 5"/>
          <p:cNvSpPr/>
          <p:nvPr/>
        </p:nvSpPr>
        <p:spPr>
          <a:xfrm rot="20534377">
            <a:off x="2588927" y="1429013"/>
            <a:ext cx="1439021" cy="726513"/>
          </a:xfrm>
          <a:prstGeom prst="rect">
            <a:avLst/>
          </a:prstGeom>
          <a:noFill/>
          <a:ln w="28575">
            <a:solidFill>
              <a:srgbClr val="FF0000"/>
            </a:solidFill>
            <a:prstDash val="soli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endParaRPr lang="ru-RU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6" name="TextBox 4"/>
          <p:cNvSpPr txBox="1"/>
          <p:nvPr/>
        </p:nvSpPr>
        <p:spPr>
          <a:xfrm rot="20594170">
            <a:off x="2723989" y="1422937"/>
            <a:ext cx="117217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/>
              <a:t>Элитный </a:t>
            </a:r>
          </a:p>
          <a:p>
            <a:pPr algn="ctr"/>
            <a:r>
              <a:rPr lang="ru-RU" sz="1400" dirty="0" smtClean="0"/>
              <a:t>коттеджный</a:t>
            </a:r>
          </a:p>
          <a:p>
            <a:pPr algn="ctr"/>
            <a:r>
              <a:rPr lang="ru-RU" sz="1400" dirty="0" smtClean="0"/>
              <a:t>поселок</a:t>
            </a:r>
            <a:endParaRPr lang="ru-RU" sz="1400" dirty="0"/>
          </a:p>
        </p:txBody>
      </p:sp>
      <p:sp>
        <p:nvSpPr>
          <p:cNvPr id="7" name="TextBox 7"/>
          <p:cNvSpPr txBox="1"/>
          <p:nvPr/>
        </p:nvSpPr>
        <p:spPr>
          <a:xfrm rot="20594170">
            <a:off x="3510962" y="2788607"/>
            <a:ext cx="12606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/>
              <a:t>Крупный </a:t>
            </a:r>
          </a:p>
          <a:p>
            <a:pPr algn="ctr"/>
            <a:r>
              <a:rPr lang="ru-RU" sz="1400" dirty="0" smtClean="0"/>
              <a:t>жилой район</a:t>
            </a:r>
            <a:endParaRPr lang="ru-RU" sz="1400" dirty="0"/>
          </a:p>
        </p:txBody>
      </p:sp>
      <p:sp>
        <p:nvSpPr>
          <p:cNvPr id="8" name="Прямоугольник 9"/>
          <p:cNvSpPr/>
          <p:nvPr/>
        </p:nvSpPr>
        <p:spPr>
          <a:xfrm rot="20534377">
            <a:off x="391847" y="1429012"/>
            <a:ext cx="1439021" cy="726513"/>
          </a:xfrm>
          <a:prstGeom prst="rect">
            <a:avLst/>
          </a:prstGeom>
          <a:noFill/>
          <a:ln w="28575">
            <a:solidFill>
              <a:srgbClr val="FF0000"/>
            </a:solidFill>
            <a:prstDash val="soli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endParaRPr lang="ru-RU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TextBox 10"/>
          <p:cNvSpPr txBox="1"/>
          <p:nvPr/>
        </p:nvSpPr>
        <p:spPr>
          <a:xfrm rot="20594170">
            <a:off x="518745" y="1422936"/>
            <a:ext cx="117217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/>
              <a:t>Элитный </a:t>
            </a:r>
          </a:p>
          <a:p>
            <a:pPr algn="ctr"/>
            <a:r>
              <a:rPr lang="ru-RU" sz="1400" dirty="0" smtClean="0"/>
              <a:t>коттеджный</a:t>
            </a:r>
          </a:p>
          <a:p>
            <a:pPr algn="ctr"/>
            <a:r>
              <a:rPr lang="ru-RU" sz="1400" dirty="0" smtClean="0"/>
              <a:t>поселок</a:t>
            </a:r>
            <a:endParaRPr lang="ru-RU" sz="1400" dirty="0"/>
          </a:p>
        </p:txBody>
      </p:sp>
      <p:sp>
        <p:nvSpPr>
          <p:cNvPr id="10" name="Прямоугольник 11"/>
          <p:cNvSpPr/>
          <p:nvPr/>
        </p:nvSpPr>
        <p:spPr>
          <a:xfrm>
            <a:off x="9060487" y="1313923"/>
            <a:ext cx="1439021" cy="726513"/>
          </a:xfrm>
          <a:prstGeom prst="rect">
            <a:avLst/>
          </a:prstGeom>
          <a:noFill/>
          <a:ln w="28575">
            <a:solidFill>
              <a:srgbClr val="FF0000"/>
            </a:solidFill>
            <a:prstDash val="soli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endParaRPr lang="ru-RU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TextBox 12"/>
          <p:cNvSpPr txBox="1"/>
          <p:nvPr/>
        </p:nvSpPr>
        <p:spPr>
          <a:xfrm rot="59793">
            <a:off x="9195549" y="1307847"/>
            <a:ext cx="117217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/>
              <a:t>Элитный </a:t>
            </a:r>
          </a:p>
          <a:p>
            <a:pPr algn="ctr"/>
            <a:r>
              <a:rPr lang="ru-RU" sz="1400" dirty="0" smtClean="0"/>
              <a:t>коттеджный</a:t>
            </a:r>
          </a:p>
          <a:p>
            <a:pPr algn="ctr"/>
            <a:r>
              <a:rPr lang="ru-RU" sz="1400" dirty="0" smtClean="0"/>
              <a:t>поселок</a:t>
            </a:r>
            <a:endParaRPr lang="ru-RU" sz="1400" dirty="0"/>
          </a:p>
        </p:txBody>
      </p:sp>
      <p:sp>
        <p:nvSpPr>
          <p:cNvPr id="12" name="직사각형 3"/>
          <p:cNvSpPr/>
          <p:nvPr/>
        </p:nvSpPr>
        <p:spPr>
          <a:xfrm>
            <a:off x="4899611" y="1226847"/>
            <a:ext cx="3096344" cy="504056"/>
          </a:xfrm>
          <a:prstGeom prst="rect">
            <a:avLst/>
          </a:prstGeom>
          <a:solidFill>
            <a:srgbClr val="39AEB2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 smtClean="0"/>
              <a:t>Пример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169539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35663" y="165705"/>
            <a:ext cx="5729454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2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СХЕМА ГЕНЕРАЛЬНОГО ПЛАНА</a:t>
            </a:r>
            <a:endParaRPr lang="zh-CN" altLang="en-US" sz="2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AA5E31B2-ABAD-B76F-F1E3-B3B2564C00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9706" y="947173"/>
            <a:ext cx="10284634" cy="5513079"/>
          </a:xfrm>
          <a:prstGeom prst="rect">
            <a:avLst/>
          </a:prstGeom>
        </p:spPr>
      </p:pic>
      <p:sp>
        <p:nvSpPr>
          <p:cNvPr id="4" name="직사각형 3"/>
          <p:cNvSpPr/>
          <p:nvPr/>
        </p:nvSpPr>
        <p:spPr>
          <a:xfrm>
            <a:off x="1031699" y="1080543"/>
            <a:ext cx="3096344" cy="504056"/>
          </a:xfrm>
          <a:prstGeom prst="rect">
            <a:avLst/>
          </a:prstGeom>
          <a:solidFill>
            <a:srgbClr val="39AEB2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 smtClean="0"/>
              <a:t>Пример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4158812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435663" y="183993"/>
            <a:ext cx="5729454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2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СХЕМА ГЕНЕРАЛЬНОГО ПЛАНА</a:t>
            </a:r>
            <a:endParaRPr lang="zh-CN" altLang="en-US" sz="2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00580" y="1091505"/>
            <a:ext cx="7200900" cy="477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1884680" y="5915918"/>
            <a:ext cx="2378075" cy="307777"/>
          </a:xfrm>
          <a:prstGeom prst="rect">
            <a:avLst/>
          </a:prstGeom>
          <a:noFill/>
          <a:ln w="22225">
            <a:solidFill>
              <a:srgbClr val="00428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sz="1400" dirty="0">
                <a:ea typeface="Modern H Medium" pitchFamily="34" charset="-128"/>
              </a:rPr>
              <a:t>Mercedes-Benz </a:t>
            </a:r>
            <a:endParaRPr lang="ru-RU" sz="1400" dirty="0">
              <a:ea typeface="Modern H Medium" pitchFamily="34" charset="-128"/>
            </a:endParaRPr>
          </a:p>
        </p:txBody>
      </p:sp>
      <p:sp>
        <p:nvSpPr>
          <p:cNvPr id="16" name="Line 5"/>
          <p:cNvSpPr>
            <a:spLocks noChangeShapeType="1"/>
          </p:cNvSpPr>
          <p:nvPr/>
        </p:nvSpPr>
        <p:spPr bwMode="auto">
          <a:xfrm flipV="1">
            <a:off x="3829367" y="4763393"/>
            <a:ext cx="0" cy="1152525"/>
          </a:xfrm>
          <a:prstGeom prst="line">
            <a:avLst/>
          </a:prstGeom>
          <a:noFill/>
          <a:ln w="19050">
            <a:solidFill>
              <a:srgbClr val="004281"/>
            </a:solidFill>
            <a:prstDash val="dash"/>
            <a:round/>
            <a:headEnd/>
            <a:tailEnd type="triangle" w="med" len="med"/>
          </a:ln>
        </p:spPr>
        <p:txBody>
          <a:bodyPr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7" name="Text Box 6"/>
          <p:cNvSpPr txBox="1">
            <a:spLocks noChangeArrowheads="1"/>
          </p:cNvSpPr>
          <p:nvPr/>
        </p:nvSpPr>
        <p:spPr bwMode="auto">
          <a:xfrm>
            <a:off x="4405630" y="5915918"/>
            <a:ext cx="1655762" cy="307777"/>
          </a:xfrm>
          <a:prstGeom prst="rect">
            <a:avLst/>
          </a:prstGeom>
          <a:solidFill>
            <a:srgbClr val="FFFFCC"/>
          </a:solidFill>
          <a:ln w="22225">
            <a:solidFill>
              <a:srgbClr val="00428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sz="1400" dirty="0" smtClean="0">
                <a:ea typeface="Modern H Medium" pitchFamily="34" charset="-128"/>
              </a:rPr>
              <a:t>Предложение</a:t>
            </a:r>
            <a:endParaRPr lang="ru-RU" sz="1400" dirty="0">
              <a:ea typeface="Modern H Medium" pitchFamily="34" charset="-128"/>
            </a:endParaRPr>
          </a:p>
        </p:txBody>
      </p:sp>
      <p:sp>
        <p:nvSpPr>
          <p:cNvPr id="18" name="Line 7"/>
          <p:cNvSpPr>
            <a:spLocks noChangeShapeType="1"/>
          </p:cNvSpPr>
          <p:nvPr/>
        </p:nvSpPr>
        <p:spPr bwMode="auto">
          <a:xfrm flipV="1">
            <a:off x="5269230" y="4763393"/>
            <a:ext cx="0" cy="1152525"/>
          </a:xfrm>
          <a:prstGeom prst="line">
            <a:avLst/>
          </a:prstGeom>
          <a:noFill/>
          <a:ln w="19050">
            <a:solidFill>
              <a:srgbClr val="004281"/>
            </a:solidFill>
            <a:prstDash val="dash"/>
            <a:round/>
            <a:headEnd/>
            <a:tailEnd type="triangle" w="med" len="med"/>
          </a:ln>
        </p:spPr>
        <p:txBody>
          <a:bodyPr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6205855" y="5915918"/>
            <a:ext cx="1441450" cy="307777"/>
          </a:xfrm>
          <a:prstGeom prst="rect">
            <a:avLst/>
          </a:prstGeom>
          <a:noFill/>
          <a:ln w="22225">
            <a:solidFill>
              <a:srgbClr val="00428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sz="1400" dirty="0">
                <a:ea typeface="Modern H Medium" pitchFamily="34" charset="-128"/>
              </a:rPr>
              <a:t>Infinity</a:t>
            </a:r>
            <a:endParaRPr lang="ru-RU" sz="1400" dirty="0">
              <a:ea typeface="Modern H Medium" pitchFamily="34" charset="-128"/>
            </a:endParaRPr>
          </a:p>
        </p:txBody>
      </p:sp>
      <p:sp>
        <p:nvSpPr>
          <p:cNvPr id="20" name="Line 9"/>
          <p:cNvSpPr>
            <a:spLocks noChangeShapeType="1"/>
          </p:cNvSpPr>
          <p:nvPr/>
        </p:nvSpPr>
        <p:spPr bwMode="auto">
          <a:xfrm flipV="1">
            <a:off x="6637655" y="4763393"/>
            <a:ext cx="0" cy="1152525"/>
          </a:xfrm>
          <a:prstGeom prst="line">
            <a:avLst/>
          </a:prstGeom>
          <a:noFill/>
          <a:ln w="19050">
            <a:solidFill>
              <a:srgbClr val="004281"/>
            </a:solidFill>
            <a:prstDash val="dash"/>
            <a:round/>
            <a:headEnd/>
            <a:tailEnd type="triangle" w="med" len="med"/>
          </a:ln>
        </p:spPr>
        <p:txBody>
          <a:bodyPr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1" name="Text Box 10"/>
          <p:cNvSpPr txBox="1">
            <a:spLocks noChangeArrowheads="1"/>
          </p:cNvSpPr>
          <p:nvPr/>
        </p:nvSpPr>
        <p:spPr bwMode="auto">
          <a:xfrm>
            <a:off x="7860030" y="5915918"/>
            <a:ext cx="1009650" cy="307777"/>
          </a:xfrm>
          <a:prstGeom prst="rect">
            <a:avLst/>
          </a:prstGeom>
          <a:noFill/>
          <a:ln w="22225">
            <a:solidFill>
              <a:srgbClr val="00428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sz="1400" dirty="0">
                <a:ea typeface="Modern H Medium" pitchFamily="34" charset="-128"/>
              </a:rPr>
              <a:t>Toyota</a:t>
            </a:r>
            <a:endParaRPr lang="ru-RU" sz="1400" dirty="0">
              <a:ea typeface="Modern H Medium" pitchFamily="34" charset="-128"/>
            </a:endParaRPr>
          </a:p>
        </p:txBody>
      </p:sp>
      <p:sp>
        <p:nvSpPr>
          <p:cNvPr id="22" name="Line 11"/>
          <p:cNvSpPr>
            <a:spLocks noChangeShapeType="1"/>
          </p:cNvSpPr>
          <p:nvPr/>
        </p:nvSpPr>
        <p:spPr bwMode="auto">
          <a:xfrm flipV="1">
            <a:off x="8006080" y="4763393"/>
            <a:ext cx="0" cy="1152525"/>
          </a:xfrm>
          <a:prstGeom prst="line">
            <a:avLst/>
          </a:prstGeom>
          <a:noFill/>
          <a:ln w="19050">
            <a:solidFill>
              <a:srgbClr val="004281"/>
            </a:solidFill>
            <a:prstDash val="dash"/>
            <a:round/>
            <a:headEnd/>
            <a:tailEnd type="triangle" w="med" len="med"/>
          </a:ln>
        </p:spPr>
        <p:txBody>
          <a:bodyPr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3" name="직사각형 3"/>
          <p:cNvSpPr/>
          <p:nvPr/>
        </p:nvSpPr>
        <p:spPr>
          <a:xfrm>
            <a:off x="4307395" y="1487668"/>
            <a:ext cx="3096344" cy="504056"/>
          </a:xfrm>
          <a:prstGeom prst="rect">
            <a:avLst/>
          </a:prstGeom>
          <a:solidFill>
            <a:srgbClr val="39AEB2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 smtClean="0">
                <a:ea typeface="Modern H Medium" panose="020B0603000000020004" pitchFamily="34" charset="-128"/>
              </a:rPr>
              <a:t>Пример</a:t>
            </a:r>
            <a:endParaRPr lang="ru-RU" sz="2800" dirty="0">
              <a:ea typeface="Modern H Medium" panose="020B06030000000200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23192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17659" y="192000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ЛАНИРОВКА ДЦ </a:t>
            </a:r>
            <a:endParaRPr lang="ru-RU" sz="2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aphicFrame>
        <p:nvGraphicFramePr>
          <p:cNvPr id="3" name="object 5">
            <a:extLst>
              <a:ext uri="{FF2B5EF4-FFF2-40B4-BE49-F238E27FC236}">
                <a16:creationId xmlns="" xmlns:a16="http://schemas.microsoft.com/office/drawing/2014/main" id="{D3140ADE-D4E0-DD62-636C-6D2DA55804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7139026"/>
              </p:ext>
            </p:extLst>
          </p:nvPr>
        </p:nvGraphicFramePr>
        <p:xfrm>
          <a:off x="268251" y="1578634"/>
          <a:ext cx="3898307" cy="332979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0699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9131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109932">
                <a:tc>
                  <a:txBody>
                    <a:bodyPr/>
                    <a:lstStyle/>
                    <a:p>
                      <a:pPr marL="90805" marR="224154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spc="-10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Шоурум</a:t>
                      </a:r>
                      <a:r>
                        <a:rPr sz="1400" spc="-1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 </a:t>
                      </a:r>
                      <a:endParaRPr lang="ru-RU" sz="1400" spc="-1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/>
                      </a:endParaRPr>
                    </a:p>
                    <a:p>
                      <a:pPr marL="90805" marR="224154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spc="-5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(</a:t>
                      </a:r>
                      <a:r>
                        <a:rPr sz="1400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Ра</a:t>
                      </a:r>
                      <a:r>
                        <a:rPr sz="1400" spc="-5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з</a:t>
                      </a:r>
                      <a:r>
                        <a:rPr sz="1400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мер</a:t>
                      </a:r>
                      <a:r>
                        <a:rPr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: </a:t>
                      </a:r>
                      <a:r>
                        <a:rPr sz="1400" spc="-5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Длина</a:t>
                      </a:r>
                      <a:r>
                        <a:rPr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*</a:t>
                      </a:r>
                      <a:r>
                        <a:rPr sz="1400" spc="-5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Ширина</a:t>
                      </a:r>
                      <a:r>
                        <a:rPr sz="1400" spc="-5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)</a:t>
                      </a:r>
                      <a:endParaRPr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/>
                      </a:endParaRPr>
                    </a:p>
                  </a:txBody>
                  <a:tcPr marL="0" marR="0" marT="49107" marB="0" anchor="ctr">
                    <a:lnL w="9525">
                      <a:solidFill>
                        <a:srgbClr val="7E7E7E"/>
                      </a:solidFill>
                      <a:prstDash val="solid"/>
                    </a:lnL>
                    <a:lnR w="9525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>
                      <a:solidFill>
                        <a:srgbClr val="7E7E7E"/>
                      </a:solidFill>
                      <a:prstDash val="solid"/>
                    </a:lnT>
                    <a:lnB w="9525">
                      <a:solidFill>
                        <a:srgbClr val="7E7E7E"/>
                      </a:solidFill>
                      <a:prstDash val="soli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 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 </a:t>
                      </a:r>
                      <a:r>
                        <a:rPr kumimoji="0" 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м</a:t>
                      </a:r>
                      <a:r>
                        <a:rPr kumimoji="0" lang="ru-RU" sz="14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2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(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m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x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 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m)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odern H Medium" pitchFamily="34" charset="-128"/>
                      </a:endParaRPr>
                    </a:p>
                  </a:txBody>
                  <a:tcPr marT="34290" marB="34290" anchor="ctr" horzOverflow="overflow">
                    <a:lnL w="9525">
                      <a:solidFill>
                        <a:srgbClr val="7E7E7E"/>
                      </a:solidFill>
                      <a:prstDash val="solid"/>
                    </a:lnL>
                    <a:lnR w="9525">
                      <a:solidFill>
                        <a:srgbClr val="7E7E7E"/>
                      </a:solidFill>
                      <a:prstDash val="solid"/>
                    </a:lnR>
                    <a:lnT w="9525">
                      <a:solidFill>
                        <a:srgbClr val="7E7E7E"/>
                      </a:solidFill>
                      <a:prstDash val="solid"/>
                    </a:lnT>
                    <a:lnB w="9525">
                      <a:solidFill>
                        <a:srgbClr val="7E7E7E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09932">
                <a:tc>
                  <a:txBody>
                    <a:bodyPr/>
                    <a:lstStyle/>
                    <a:p>
                      <a:pPr marL="90805" marR="14986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spc="-5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Слеса</a:t>
                      </a:r>
                      <a:r>
                        <a:rPr sz="1400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р</a:t>
                      </a:r>
                      <a:r>
                        <a:rPr sz="1400" spc="-10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н</a:t>
                      </a:r>
                      <a:r>
                        <a:rPr sz="1400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ый</a:t>
                      </a:r>
                      <a:r>
                        <a:rPr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 </a:t>
                      </a:r>
                      <a:r>
                        <a:rPr sz="1400" spc="-15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ц</a:t>
                      </a:r>
                      <a:r>
                        <a:rPr sz="1400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ех</a:t>
                      </a:r>
                      <a:endParaRPr lang="ru-RU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/>
                      </a:endParaRPr>
                    </a:p>
                    <a:p>
                      <a:pPr marL="90805" marR="149860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spc="-5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(</a:t>
                      </a:r>
                      <a:r>
                        <a:rPr sz="1400" spc="-5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Размер</a:t>
                      </a:r>
                      <a:r>
                        <a:rPr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: </a:t>
                      </a:r>
                      <a:r>
                        <a:rPr sz="1400" spc="-5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Длина</a:t>
                      </a:r>
                      <a:r>
                        <a:rPr sz="1400" spc="1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*</a:t>
                      </a:r>
                      <a:r>
                        <a:rPr sz="1400" spc="-5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Ширина</a:t>
                      </a:r>
                      <a:r>
                        <a:rPr sz="1400" spc="-5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)</a:t>
                      </a:r>
                      <a:endParaRPr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/>
                      </a:endParaRPr>
                    </a:p>
                  </a:txBody>
                  <a:tcPr marL="0" marR="0" marT="49107" marB="0" anchor="ctr">
                    <a:lnL w="9525">
                      <a:solidFill>
                        <a:srgbClr val="7E7E7E"/>
                      </a:solidFill>
                      <a:prstDash val="solid"/>
                    </a:lnL>
                    <a:lnR w="9525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>
                      <a:solidFill>
                        <a:srgbClr val="7E7E7E"/>
                      </a:solidFill>
                      <a:prstDash val="solid"/>
                    </a:lnT>
                    <a:lnB w="9525">
                      <a:solidFill>
                        <a:srgbClr val="7E7E7E"/>
                      </a:solidFill>
                      <a:prstDash val="soli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 м</a:t>
                      </a:r>
                      <a:r>
                        <a:rPr kumimoji="0" lang="ru-RU" altLang="zh-CN" sz="14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2</a:t>
                      </a: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(</a:t>
                      </a:r>
                      <a:r>
                        <a:rPr kumimoji="0" lang="ru-RU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 </a:t>
                      </a: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m x</a:t>
                      </a:r>
                      <a:r>
                        <a:rPr kumimoji="0" lang="ru-RU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 </a:t>
                      </a: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m)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odern H Medium" pitchFamily="34" charset="-128"/>
                      </a:endParaRPr>
                    </a:p>
                  </a:txBody>
                  <a:tcPr marT="34290" marB="34290" anchor="ctr" horzOverflow="overflow">
                    <a:lnL w="9525">
                      <a:solidFill>
                        <a:srgbClr val="7E7E7E"/>
                      </a:solidFill>
                      <a:prstDash val="solid"/>
                    </a:lnL>
                    <a:lnR w="9525">
                      <a:solidFill>
                        <a:srgbClr val="7E7E7E"/>
                      </a:solidFill>
                      <a:prstDash val="solid"/>
                    </a:lnR>
                    <a:lnT w="9525">
                      <a:solidFill>
                        <a:srgbClr val="7E7E7E"/>
                      </a:solidFill>
                      <a:prstDash val="solid"/>
                    </a:lnT>
                    <a:lnB w="9525">
                      <a:solidFill>
                        <a:srgbClr val="7E7E7E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109933">
                <a:tc>
                  <a:txBody>
                    <a:bodyPr/>
                    <a:lstStyle/>
                    <a:p>
                      <a:pPr marL="90805" marR="168275">
                        <a:lnSpc>
                          <a:spcPct val="110100"/>
                        </a:lnSpc>
                        <a:spcBef>
                          <a:spcPts val="145"/>
                        </a:spcBef>
                      </a:pPr>
                      <a:r>
                        <a:rPr sz="1400" spc="-10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Кузовной</a:t>
                      </a:r>
                      <a:r>
                        <a:rPr sz="1400" spc="-1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 </a:t>
                      </a:r>
                      <a:r>
                        <a:rPr sz="1400" spc="-5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цех</a:t>
                      </a:r>
                      <a:r>
                        <a:rPr sz="1400" spc="-5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 </a:t>
                      </a:r>
                      <a:endParaRPr lang="ru-RU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/>
                      </a:endParaRPr>
                    </a:p>
                    <a:p>
                      <a:pPr marL="90805" marR="168275">
                        <a:lnSpc>
                          <a:spcPct val="110100"/>
                        </a:lnSpc>
                        <a:spcBef>
                          <a:spcPts val="145"/>
                        </a:spcBef>
                      </a:pPr>
                      <a:r>
                        <a:rPr sz="1400" spc="-5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(</a:t>
                      </a:r>
                      <a:r>
                        <a:rPr sz="1400" spc="-5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Размер</a:t>
                      </a:r>
                      <a:r>
                        <a:rPr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:</a:t>
                      </a:r>
                      <a:r>
                        <a:rPr lang="ru-RU"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 </a:t>
                      </a:r>
                      <a:r>
                        <a:rPr sz="1400" spc="-5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Длина</a:t>
                      </a:r>
                      <a:r>
                        <a:rPr sz="14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*</a:t>
                      </a:r>
                      <a:r>
                        <a:rPr sz="1400" spc="-5" dirty="0" err="1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Ширина</a:t>
                      </a:r>
                      <a:r>
                        <a:rPr sz="1400" spc="-5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Calibri"/>
                        </a:rPr>
                        <a:t>)</a:t>
                      </a:r>
                      <a:endParaRPr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Calibri"/>
                      </a:endParaRPr>
                    </a:p>
                  </a:txBody>
                  <a:tcPr marL="0" marR="0" marT="24553" marB="0" anchor="ctr">
                    <a:lnL w="9525">
                      <a:solidFill>
                        <a:srgbClr val="7E7E7E"/>
                      </a:solidFill>
                      <a:prstDash val="solid"/>
                    </a:lnL>
                    <a:lnR w="9525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>
                      <a:solidFill>
                        <a:srgbClr val="7E7E7E"/>
                      </a:solidFill>
                      <a:prstDash val="solid"/>
                    </a:lnT>
                    <a:lnB w="9525">
                      <a:solidFill>
                        <a:srgbClr val="7E7E7E"/>
                      </a:solidFill>
                      <a:prstDash val="soli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 м</a:t>
                      </a:r>
                      <a:r>
                        <a:rPr kumimoji="0" lang="ru-RU" altLang="zh-CN" sz="14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2</a:t>
                      </a: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(</a:t>
                      </a:r>
                      <a:r>
                        <a:rPr kumimoji="0" lang="ru-RU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 </a:t>
                      </a: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m x</a:t>
                      </a:r>
                      <a:r>
                        <a:rPr kumimoji="0" lang="ru-RU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 </a:t>
                      </a:r>
                      <a:r>
                        <a:rPr kumimoji="0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m)</a:t>
                      </a:r>
                      <a:endParaRPr kumimoji="0" 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odern H Medium" pitchFamily="34" charset="-128"/>
                      </a:endParaRPr>
                    </a:p>
                  </a:txBody>
                  <a:tcPr marT="34290" marB="34290" anchor="ctr" horzOverflow="overflow">
                    <a:lnL w="9525">
                      <a:solidFill>
                        <a:srgbClr val="7E7E7E"/>
                      </a:solidFill>
                      <a:prstDash val="solid"/>
                    </a:lnL>
                    <a:lnR w="9525">
                      <a:solidFill>
                        <a:srgbClr val="7E7E7E"/>
                      </a:solidFill>
                      <a:prstDash val="solid"/>
                    </a:lnR>
                    <a:lnT w="9525">
                      <a:solidFill>
                        <a:srgbClr val="7E7E7E"/>
                      </a:solidFill>
                      <a:prstDash val="solid"/>
                    </a:lnT>
                    <a:lnB w="9525">
                      <a:solidFill>
                        <a:srgbClr val="7E7E7E"/>
                      </a:solidFill>
                      <a:prstDash val="soli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262B5CA3-E2A3-CCCC-20E8-60D14EC58A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89" t="15000" r="15350" b="23401"/>
          <a:stretch/>
        </p:blipFill>
        <p:spPr>
          <a:xfrm>
            <a:off x="4166558" y="1300643"/>
            <a:ext cx="7619878" cy="4039453"/>
          </a:xfrm>
          <a:prstGeom prst="rect">
            <a:avLst/>
          </a:prstGeom>
        </p:spPr>
      </p:pic>
      <p:sp>
        <p:nvSpPr>
          <p:cNvPr id="5" name="직사각형 3"/>
          <p:cNvSpPr/>
          <p:nvPr/>
        </p:nvSpPr>
        <p:spPr>
          <a:xfrm>
            <a:off x="7409098" y="3290181"/>
            <a:ext cx="3122991" cy="417352"/>
          </a:xfrm>
          <a:prstGeom prst="rect">
            <a:avLst/>
          </a:prstGeom>
          <a:solidFill>
            <a:srgbClr val="39AEB2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 smtClean="0">
                <a:ea typeface="Modern H Medium" panose="020B0603000000020004" pitchFamily="34" charset="-128"/>
              </a:rPr>
              <a:t>Пример</a:t>
            </a:r>
            <a:endParaRPr lang="ru-RU" sz="2800" dirty="0">
              <a:ea typeface="Modern H Medium" panose="020B06030000000200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0352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/>
        </p:nvSpPr>
        <p:spPr bwMode="auto">
          <a:xfrm>
            <a:off x="650190" y="182417"/>
            <a:ext cx="8352928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4C4C4C"/>
                </a:solidFill>
                <a:latin typeface="微软雅黑" pitchFamily="34" charset="-122"/>
                <a:ea typeface="微软雅黑" pitchFamily="34" charset="-122"/>
                <a:cs typeface="Hiragino Sans GB W6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r>
              <a:rPr lang="ru-RU" sz="2600" b="1" dirty="0" smtClean="0"/>
              <a:t>СУЩЕСТВУЮЩИЙ ВИД (ФОТО)</a:t>
            </a:r>
            <a:endParaRPr lang="ru-RU" sz="2600" b="1" dirty="0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6229400" y="3640682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Дополнительное фото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6229202" y="1049336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Фото участка по фасаду </a:t>
            </a:r>
            <a:r>
              <a:rPr lang="ru-RU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справа</a:t>
            </a:r>
            <a:endParaRPr lang="ru-RU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980730" y="3641624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Дополнительное фото</a:t>
            </a:r>
            <a:endParaRPr lang="ru-RU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980928" y="1048865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Фото участка по фасаду слева</a:t>
            </a:r>
            <a:endParaRPr lang="ru-RU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91383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31538" y="265152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ОБЩАЯ ИНФОРМАЦИЯ О КОМПАНИИ</a:t>
            </a:r>
          </a:p>
        </p:txBody>
      </p:sp>
      <p:graphicFrame>
        <p:nvGraphicFramePr>
          <p:cNvPr id="23" name="Group 1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1761441"/>
              </p:ext>
            </p:extLst>
          </p:nvPr>
        </p:nvGraphicFramePr>
        <p:xfrm>
          <a:off x="239516" y="964731"/>
          <a:ext cx="11329259" cy="5024560"/>
        </p:xfrm>
        <a:graphic>
          <a:graphicData uri="http://schemas.openxmlformats.org/drawingml/2006/table">
            <a:tbl>
              <a:tblPr/>
              <a:tblGrid>
                <a:gridCol w="30691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2600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16560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2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Контактная информация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68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Юридическое наименование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68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ИНН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68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Юридический адрес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91163780"/>
                  </a:ext>
                </a:extLst>
              </a:tr>
              <a:tr h="768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Фактический адрес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68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Торговое название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804303976"/>
                  </a:ext>
                </a:extLst>
              </a:tr>
              <a:tr h="768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Контакты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68247422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/>
        </p:nvSpPr>
        <p:spPr bwMode="auto">
          <a:xfrm>
            <a:off x="513030" y="109265"/>
            <a:ext cx="8352928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4C4C4C"/>
                </a:solidFill>
                <a:latin typeface="微软雅黑" pitchFamily="34" charset="-122"/>
                <a:ea typeface="微软雅黑" pitchFamily="34" charset="-122"/>
                <a:cs typeface="Hiragino Sans GB W6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r>
              <a:rPr lang="ru-RU" sz="2600" b="1" dirty="0" smtClean="0"/>
              <a:t>СУЩЕСТВУЮЩИЙ ВИД (ФОТО)</a:t>
            </a:r>
            <a:endParaRPr lang="ru-RU" sz="2600" b="1" dirty="0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6302552" y="3750410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Дополнительное фото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6302354" y="1159064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Фото сервиса</a:t>
            </a:r>
            <a:endParaRPr lang="ru-RU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053882" y="3751352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Дополнительное фото</a:t>
            </a:r>
            <a:endParaRPr lang="ru-RU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2054080" y="1158593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Фото сервиса</a:t>
            </a:r>
            <a:endParaRPr lang="ru-RU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02411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/>
        </p:nvSpPr>
        <p:spPr bwMode="auto">
          <a:xfrm>
            <a:off x="394158" y="109265"/>
            <a:ext cx="8352928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4C4C4C"/>
                </a:solidFill>
                <a:latin typeface="微软雅黑" pitchFamily="34" charset="-122"/>
                <a:ea typeface="微软雅黑" pitchFamily="34" charset="-122"/>
                <a:cs typeface="Hiragino Sans GB W6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r>
              <a:rPr lang="ru-RU" sz="2600" b="1" dirty="0" smtClean="0"/>
              <a:t>СУЩЕСТВУЮЩИЙ ВИД (ФОТО)</a:t>
            </a:r>
            <a:endParaRPr lang="ru-RU" sz="2600" b="1" dirty="0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6366560" y="3631538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>
                <a:latin typeface="微软雅黑" panose="020B0503020204020204" pitchFamily="34" charset="-122"/>
                <a:ea typeface="微软雅黑" panose="020B0503020204020204" pitchFamily="34" charset="-122"/>
              </a:rPr>
              <a:t>Дополнительное фото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6366362" y="1040192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Дополнительное салона</a:t>
            </a:r>
            <a:endParaRPr lang="ru-RU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117890" y="3632480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Дополнительное фото</a:t>
            </a:r>
            <a:endParaRPr lang="ru-RU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2118088" y="1039721"/>
            <a:ext cx="4032250" cy="2448743"/>
          </a:xfrm>
          <a:prstGeom prst="rect">
            <a:avLst/>
          </a:prstGeom>
          <a:solidFill>
            <a:srgbClr val="39AEB2">
              <a:alpha val="20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ctr"/>
            <a:r>
              <a:rPr lang="ru-RU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Дополнительное салона</a:t>
            </a:r>
            <a:endParaRPr lang="ru-RU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28402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264">
            <a:extLst>
              <a:ext uri="{FF2B5EF4-FFF2-40B4-BE49-F238E27FC236}">
                <a16:creationId xmlns="" xmlns:a16="http://schemas.microsoft.com/office/drawing/2014/main" id="{11352720-D7B6-0EE6-648B-424ED2F573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1467759"/>
              </p:ext>
            </p:extLst>
          </p:nvPr>
        </p:nvGraphicFramePr>
        <p:xfrm>
          <a:off x="335361" y="882435"/>
          <a:ext cx="11513739" cy="2595187"/>
        </p:xfrm>
        <a:graphic>
          <a:graphicData uri="http://schemas.openxmlformats.org/drawingml/2006/table">
            <a:tbl>
              <a:tblPr/>
              <a:tblGrid>
                <a:gridCol w="243641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74979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58059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74693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76067"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2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Учредители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ФИО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Дата рождения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Сумма уставного капитала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Доля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" name="Group 109">
            <a:extLst>
              <a:ext uri="{FF2B5EF4-FFF2-40B4-BE49-F238E27FC236}">
                <a16:creationId xmlns="" xmlns:a16="http://schemas.microsoft.com/office/drawing/2014/main" id="{8FCEE72F-332B-2DBD-1688-B8DE48BEB0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543147"/>
              </p:ext>
            </p:extLst>
          </p:nvPr>
        </p:nvGraphicFramePr>
        <p:xfrm>
          <a:off x="335360" y="3726173"/>
          <a:ext cx="11513740" cy="2487520"/>
        </p:xfrm>
        <a:graphic>
          <a:graphicData uri="http://schemas.openxmlformats.org/drawingml/2006/table">
            <a:tbl>
              <a:tblPr/>
              <a:tblGrid>
                <a:gridCol w="24078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68605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0099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3409950">
                  <a:extLst>
                    <a:ext uri="{9D8B030D-6E8A-4147-A177-3AD203B41FA5}">
                      <a16:colId xmlns="" xmlns:a16="http://schemas.microsoft.com/office/drawing/2014/main" val="2187490987"/>
                    </a:ext>
                  </a:extLst>
                </a:gridCol>
              </a:tblGrid>
              <a:tr h="416560"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2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Руководители проекта</a:t>
                      </a:r>
                      <a:endParaRPr kumimoji="0" lang="ru-RU" sz="21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Должность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24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ФИО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240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Контакты</a:t>
                      </a: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矩形 3"/>
          <p:cNvSpPr/>
          <p:nvPr/>
        </p:nvSpPr>
        <p:spPr>
          <a:xfrm>
            <a:off x="442406" y="141441"/>
            <a:ext cx="9895658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2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</a:rPr>
              <a:t>ИНФОРМАЦИЯ ОБ УЧЕРДИТЕЛЯХ И РУКОВОЛИТЕЛЯХ </a:t>
            </a:r>
            <a:endParaRPr lang="zh-CN" altLang="en-US" sz="2600" b="1" dirty="0"/>
          </a:p>
        </p:txBody>
      </p:sp>
    </p:spTree>
    <p:extLst>
      <p:ext uri="{BB962C8B-B14F-4D97-AF65-F5344CB8AC3E}">
        <p14:creationId xmlns:p14="http://schemas.microsoft.com/office/powerpoint/2010/main" val="685790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/>
        </p:nvSpPr>
        <p:spPr bwMode="auto">
          <a:xfrm>
            <a:off x="447352" y="116596"/>
            <a:ext cx="11046656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4C4C4C"/>
                </a:solidFill>
                <a:latin typeface="微软雅黑" pitchFamily="34" charset="-122"/>
                <a:ea typeface="微软雅黑" pitchFamily="34" charset="-122"/>
                <a:cs typeface="Hiragino Sans GB W6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4C4C4C"/>
                </a:solidFill>
                <a:latin typeface="Hiragino Sans GB W6"/>
                <a:ea typeface="Hiragino Sans GB W6"/>
                <a:cs typeface="Hiragino Sans GB W6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r>
              <a:rPr lang="ru-RU" sz="2600" b="1" dirty="0" smtClean="0">
                <a:solidFill>
                  <a:schemeClr val="tx1"/>
                </a:solidFill>
              </a:rPr>
              <a:t>ОРГАНИЗАЦИОННАЯ СТРУКТУРА КОМПАНИИ</a:t>
            </a:r>
            <a:endParaRPr lang="ru-RU" sz="2600" b="1" dirty="0">
              <a:solidFill>
                <a:schemeClr val="tx1"/>
              </a:solidFill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146305" y="5424279"/>
            <a:ext cx="11905488" cy="584775"/>
          </a:xfrm>
          <a:prstGeom prst="rect">
            <a:avLst/>
          </a:prstGeom>
          <a:noFill/>
          <a:ln w="25400">
            <a:solidFill>
              <a:srgbClr val="39AEB2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algn="just"/>
            <a:r>
              <a:rPr lang="ru-RU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Если компания, подающая заявку на получение статуса официального дилера, является частью группы компаний или холдинга, необходимо предоставить организационную структуру холдинга на следующем слайде.</a:t>
            </a:r>
            <a:endParaRPr lang="ru-RU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Picture 2" descr="http://www.bankreferatov.ru/Images/48/C325729F00717F7B43257B0B0009CE48/%D0%A3%D1%87%D0%B5%D1%82%20%D1%82%D1%80%D1%83%D0%B4%D0%B0%20%D0%B8%20%D0%B7%D0%B0%D1%80%D0%B0%D0%B1%D0%BE%D1%82%D0%BD%D0%BE%D0%B9%20%D0%BF%D0%BB%D0%B0%D1%82%D1%8B%20%D0%BD%D0%B0%20%D0%9E%D0%9E%D0%9E%20%D0%90%D0%B2%D1%82%D0%BE%D0%BC%D0%BE%D0%B1%D0%B8%D0%BB%D0%B8%20%D0%91%D0%B0%D0%B2%D0%B0%D1%80%D0%B8%D0%B8.doc/img1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1018" y="1182452"/>
            <a:ext cx="6730997" cy="391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직사각형 3"/>
          <p:cNvSpPr/>
          <p:nvPr/>
        </p:nvSpPr>
        <p:spPr>
          <a:xfrm>
            <a:off x="6725336" y="1056205"/>
            <a:ext cx="2712331" cy="614041"/>
          </a:xfrm>
          <a:prstGeom prst="rect">
            <a:avLst/>
          </a:prstGeom>
          <a:solidFill>
            <a:srgbClr val="39AEB2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Пример</a:t>
            </a:r>
            <a:endParaRPr lang="ru-RU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77571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351053" y="174566"/>
            <a:ext cx="7156318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2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ПЛАНИРУЕМАЯ СТРУКТУРА </a:t>
            </a:r>
            <a:r>
              <a:rPr lang="ru-RU" altLang="zh-CN" sz="2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ДЦ </a:t>
            </a:r>
            <a:r>
              <a:rPr lang="en-US" altLang="zh-CN" sz="2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ETOUR</a:t>
            </a:r>
            <a:endParaRPr lang="zh-CN" altLang="en-US" sz="2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Рисунок 36">
            <a:extLst>
              <a:ext uri="{FF2B5EF4-FFF2-40B4-BE49-F238E27FC236}">
                <a16:creationId xmlns="" xmlns:a16="http://schemas.microsoft.com/office/drawing/2014/main" id="{DAD68C4A-FE82-610B-F90F-0842BEF545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053" y="2144239"/>
            <a:ext cx="11665898" cy="3031075"/>
          </a:xfrm>
          <a:prstGeom prst="rect">
            <a:avLst/>
          </a:prstGeom>
        </p:spPr>
      </p:pic>
      <p:sp>
        <p:nvSpPr>
          <p:cNvPr id="4" name="직사각형 3"/>
          <p:cNvSpPr/>
          <p:nvPr/>
        </p:nvSpPr>
        <p:spPr>
          <a:xfrm>
            <a:off x="7564322" y="952510"/>
            <a:ext cx="2712331" cy="614041"/>
          </a:xfrm>
          <a:prstGeom prst="rect">
            <a:avLst/>
          </a:prstGeom>
          <a:solidFill>
            <a:srgbClr val="39AEB2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Пример</a:t>
            </a:r>
            <a:endParaRPr lang="ru-RU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72947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31373" y="160231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ДАННЫЕ ПО СУЩЕСТВУЮЩЕМУ БИЗНЕСУ</a:t>
            </a:r>
          </a:p>
        </p:txBody>
      </p:sp>
      <p:graphicFrame>
        <p:nvGraphicFramePr>
          <p:cNvPr id="3" name="Group 106">
            <a:extLst>
              <a:ext uri="{FF2B5EF4-FFF2-40B4-BE49-F238E27FC236}">
                <a16:creationId xmlns="" xmlns:a16="http://schemas.microsoft.com/office/drawing/2014/main" id="{EA93DD93-4A6C-552E-E0B8-5D5D0005E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9958241"/>
              </p:ext>
            </p:extLst>
          </p:nvPr>
        </p:nvGraphicFramePr>
        <p:xfrm>
          <a:off x="239350" y="825322"/>
          <a:ext cx="11329260" cy="5611596"/>
        </p:xfrm>
        <a:graphic>
          <a:graphicData uri="http://schemas.openxmlformats.org/drawingml/2006/table">
            <a:tbl>
              <a:tblPr/>
              <a:tblGrid>
                <a:gridCol w="278431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4294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17502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16349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16349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49144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Бренды в портфолио кандидата</a:t>
                      </a:r>
                      <a:endParaRPr kumimoji="0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Modern H Medium" pitchFamily="34" charset="-128"/>
                        <a:cs typeface="가는각진제목체"/>
                      </a:endParaRPr>
                    </a:p>
                  </a:txBody>
                  <a:tcPr marL="110863" marR="110863" marT="41573" marB="41573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Бренд 1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Бренд 2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Бренд 3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Бренд 3</a:t>
                      </a:r>
                      <a:endParaRPr kumimoji="0" lang="en-US" altLang="ko-K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Начало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 </a:t>
                      </a: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деятельности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ДД/ММ/ГГГГ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ДД/ММ/ГГГГ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ДД/ММ/ГГГГ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ДД/ММ/ГГГГ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Площадь шоурума/ сервиса</a:t>
                      </a:r>
                      <a:endParaRPr kumimoji="0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Modern H Medium" pitchFamily="34" charset="-128"/>
                        <a:cs typeface="가는각진제목체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**</a:t>
                      </a:r>
                      <a:r>
                        <a:rPr kumimoji="0" lang="en-US" altLang="zh-CN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m</a:t>
                      </a:r>
                      <a:r>
                        <a:rPr kumimoji="0" lang="en-US" altLang="zh-CN" sz="1100" b="0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</a:t>
                      </a:r>
                      <a:r>
                        <a:rPr kumimoji="0" lang="en-US" altLang="zh-CN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/**m</a:t>
                      </a:r>
                      <a:r>
                        <a:rPr kumimoji="0" lang="en-US" altLang="zh-CN" sz="1100" b="0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</a:t>
                      </a:r>
                      <a:endParaRPr kumimoji="0" lang="en-US" altLang="ko-KR" sz="1100" b="0" i="0" u="none" strike="noStrike" kern="1200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**</a:t>
                      </a:r>
                      <a:r>
                        <a:rPr kumimoji="0" lang="en-US" altLang="zh-CN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m</a:t>
                      </a:r>
                      <a:r>
                        <a:rPr kumimoji="0" lang="en-US" altLang="zh-CN" sz="1100" b="0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</a:t>
                      </a:r>
                      <a:r>
                        <a:rPr kumimoji="0" lang="en-US" altLang="zh-CN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/**m</a:t>
                      </a:r>
                      <a:r>
                        <a:rPr kumimoji="0" lang="en-US" altLang="zh-CN" sz="1100" b="0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</a:t>
                      </a:r>
                      <a:endParaRPr kumimoji="0" lang="en-US" altLang="ko-KR" sz="1100" b="0" i="0" u="none" strike="noStrike" kern="1200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**</a:t>
                      </a:r>
                      <a:r>
                        <a:rPr kumimoji="0" lang="en-US" altLang="zh-CN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m</a:t>
                      </a:r>
                      <a:r>
                        <a:rPr kumimoji="0" lang="en-US" altLang="zh-CN" sz="1100" b="0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</a:t>
                      </a:r>
                      <a:r>
                        <a:rPr kumimoji="0" lang="en-US" altLang="zh-CN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/**m</a:t>
                      </a:r>
                      <a:r>
                        <a:rPr kumimoji="0" lang="en-US" altLang="zh-CN" sz="1100" b="0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</a:t>
                      </a:r>
                      <a:endParaRPr kumimoji="0" lang="en-US" altLang="ko-KR" sz="1100" b="0" i="0" u="none" strike="noStrike" kern="1200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**</a:t>
                      </a:r>
                      <a:r>
                        <a:rPr kumimoji="0" lang="en-US" altLang="zh-CN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m</a:t>
                      </a:r>
                      <a:r>
                        <a:rPr kumimoji="0" lang="en-US" altLang="zh-CN" sz="1100" b="0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</a:t>
                      </a:r>
                      <a:r>
                        <a:rPr kumimoji="0" lang="en-US" altLang="zh-CN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/**m</a:t>
                      </a:r>
                      <a:r>
                        <a:rPr kumimoji="0" lang="en-US" altLang="zh-CN" sz="1100" b="0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</a:t>
                      </a:r>
                      <a:endParaRPr kumimoji="0" lang="en-US" altLang="ko-KR" sz="1100" b="0" i="0" u="none" strike="noStrike" kern="1200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Тип дилерского центр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 (</a:t>
                      </a:r>
                      <a:r>
                        <a:rPr kumimoji="0" lang="ru-RU" altLang="ko-KR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монобренд</a:t>
                      </a: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 / </a:t>
                      </a:r>
                      <a:r>
                        <a:rPr kumimoji="0" lang="ru-RU" altLang="ko-KR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мультибренд</a:t>
                      </a: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)</a:t>
                      </a:r>
                      <a:endParaRPr kumimoji="0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Modern H Medium" pitchFamily="34" charset="-128"/>
                        <a:cs typeface="가는각진제목체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Продажи 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0</a:t>
                      </a:r>
                      <a:r>
                        <a:rPr kumimoji="0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1</a:t>
                      </a:r>
                      <a:r>
                        <a:rPr kumimoji="0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, </a:t>
                      </a: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шт.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Продажи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02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</a:t>
                      </a:r>
                      <a:r>
                        <a:rPr kumimoji="0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, </a:t>
                      </a: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шт.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Продажи 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02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3</a:t>
                      </a:r>
                      <a:r>
                        <a:rPr kumimoji="0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 </a:t>
                      </a: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(прогноз),</a:t>
                      </a:r>
                      <a:r>
                        <a:rPr kumimoji="0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 </a:t>
                      </a: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 шт.</a:t>
                      </a:r>
                      <a:endParaRPr kumimoji="0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Modern H Medium" pitchFamily="34" charset="-128"/>
                        <a:cs typeface="가는각진제목체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Кол-во сотрудников в </a:t>
                      </a:r>
                      <a:r>
                        <a:rPr kumimoji="0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202</a:t>
                      </a:r>
                      <a:r>
                        <a:rPr kumimoji="0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3</a:t>
                      </a:r>
                      <a:r>
                        <a:rPr kumimoji="0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 </a:t>
                      </a: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году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8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Наличие инвестиционных обязательств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(</a:t>
                      </a:r>
                      <a:r>
                        <a:rPr kumimoji="0" lang="ru-RU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да/нет)</a:t>
                      </a:r>
                      <a:endParaRPr kumimoji="0" lang="en-US" altLang="ko-K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(</a:t>
                      </a:r>
                      <a:r>
                        <a:rPr kumimoji="0" lang="ru-RU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да/нет)</a:t>
                      </a: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(</a:t>
                      </a:r>
                      <a:r>
                        <a:rPr kumimoji="0" lang="ru-RU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да/нет)</a:t>
                      </a: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(</a:t>
                      </a:r>
                      <a:r>
                        <a:rPr kumimoji="0" lang="ru-RU" altLang="ko-K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да/нет)</a:t>
                      </a:r>
                      <a:endParaRPr kumimoji="0" lang="en-US" altLang="ko-K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2801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가는각진제목체"/>
                        </a:rPr>
                        <a:t>Фото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110863" marR="110863" marT="0" marB="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ko-KR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가는각진제목체"/>
                      </a:endParaRPr>
                    </a:p>
                  </a:txBody>
                  <a:tcPr marL="110863" marR="1108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227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60248" y="148977"/>
            <a:ext cx="957986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zh-CN" sz="2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БИЗНЕС-ПЛАН ПРОДАЖИ НОВЫХ АВТОМОБИЛЕЙ</a:t>
            </a:r>
            <a:endParaRPr lang="zh-CN" altLang="en-US" sz="2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Group 216">
            <a:extLst>
              <a:ext uri="{FF2B5EF4-FFF2-40B4-BE49-F238E27FC236}">
                <a16:creationId xmlns="" xmlns:a16="http://schemas.microsoft.com/office/drawing/2014/main" id="{9875AFB2-E36A-F2F5-4860-D42F93E2A2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3647946"/>
              </p:ext>
            </p:extLst>
          </p:nvPr>
        </p:nvGraphicFramePr>
        <p:xfrm>
          <a:off x="192564" y="1505745"/>
          <a:ext cx="11425267" cy="4112481"/>
        </p:xfrm>
        <a:graphic>
          <a:graphicData uri="http://schemas.openxmlformats.org/drawingml/2006/table">
            <a:tbl>
              <a:tblPr/>
              <a:tblGrid>
                <a:gridCol w="297633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1223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01622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93796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38251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563903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План продаж новых автомобилей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125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Период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kumimoji="0" lang="ru-RU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kumimoji="0" lang="ru-RU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kumimoji="0" lang="ru-RU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607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Всего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85216">
                <a:tc>
                  <a:txBody>
                    <a:bodyPr/>
                    <a:lstStyle/>
                    <a:p>
                      <a:r>
                        <a:rPr lang="en-US" altLang="zh-CN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X90PLUS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76656">
                <a:tc>
                  <a:txBody>
                    <a:bodyPr/>
                    <a:lstStyle/>
                    <a:p>
                      <a:r>
                        <a:rPr lang="en-US" altLang="zh-CN" sz="16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DASHING(X-1)</a:t>
                      </a:r>
                      <a:endParaRPr lang="zh-CN" altLang="en-US" sz="16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77724085"/>
                  </a:ext>
                </a:extLst>
              </a:tr>
              <a:tr h="55968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X70PLUS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5968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T-1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8863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90227" y="210288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ИЗНЕС-ПЛАН ПОСЛЕПРОДАЖНОЕ ОСЛУЖИВАНИЕ</a:t>
            </a:r>
          </a:p>
        </p:txBody>
      </p:sp>
      <p:graphicFrame>
        <p:nvGraphicFramePr>
          <p:cNvPr id="3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8031842"/>
              </p:ext>
            </p:extLst>
          </p:nvPr>
        </p:nvGraphicFramePr>
        <p:xfrm>
          <a:off x="239348" y="863379"/>
          <a:ext cx="11042651" cy="2569511"/>
        </p:xfrm>
        <a:graphic>
          <a:graphicData uri="http://schemas.openxmlformats.org/drawingml/2006/table">
            <a:tbl>
              <a:tblPr/>
              <a:tblGrid>
                <a:gridCol w="326485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4444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4444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94444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94444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429350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План продаж запасных частей / аксессуаров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Период</a:t>
                      </a:r>
                      <a:r>
                        <a:rPr kumimoji="0" lang="en-US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*</a:t>
                      </a:r>
                      <a:endParaRPr kumimoji="0" lang="ru-RU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kumimoji="0" lang="ru-RU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kumimoji="0" lang="ru-RU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kumimoji="0" lang="ru-RU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Всего (руб.)</a:t>
                      </a:r>
                      <a:r>
                        <a:rPr kumimoji="0" lang="en-US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*</a:t>
                      </a:r>
                      <a:endParaRPr kumimoji="0" lang="ru-RU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З/Ч (руб.)</a:t>
                      </a:r>
                      <a:r>
                        <a:rPr kumimoji="0" lang="en-US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*</a:t>
                      </a:r>
                      <a:endParaRPr kumimoji="0" lang="ru-RU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8568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Аксессуары (руб.)</a:t>
                      </a:r>
                      <a:r>
                        <a:rPr kumimoji="0" lang="en-US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*</a:t>
                      </a:r>
                      <a:endParaRPr kumimoji="0" lang="ru-RU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Group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5161538"/>
              </p:ext>
            </p:extLst>
          </p:nvPr>
        </p:nvGraphicFramePr>
        <p:xfrm>
          <a:off x="239349" y="3854935"/>
          <a:ext cx="11042651" cy="2623361"/>
        </p:xfrm>
        <a:graphic>
          <a:graphicData uri="http://schemas.openxmlformats.org/drawingml/2006/table">
            <a:tbl>
              <a:tblPr/>
              <a:tblGrid>
                <a:gridCol w="326485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4444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4444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94444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94444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405864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План выработки нормо-часов  в сервисе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586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Период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kumimoji="0" lang="ru-RU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kumimoji="0" lang="ru-RU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kumimoji="0" lang="ru-RU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608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Всего (Н/Ч)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8996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Слесарный ремонт (Н/Ч)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608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Кузовной ремонт (Н/Ч)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5"/>
          <p:cNvSpPr txBox="1"/>
          <p:nvPr/>
        </p:nvSpPr>
        <p:spPr>
          <a:xfrm>
            <a:off x="512207" y="3432890"/>
            <a:ext cx="58961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* - указываются цены реализации конечным клиентам </a:t>
            </a:r>
          </a:p>
        </p:txBody>
      </p:sp>
    </p:spTree>
    <p:extLst>
      <p:ext uri="{BB962C8B-B14F-4D97-AF65-F5344CB8AC3E}">
        <p14:creationId xmlns:p14="http://schemas.microsoft.com/office/powerpoint/2010/main" val="453619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99371" y="228576"/>
            <a:ext cx="11137237" cy="57148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600" dirty="0">
                <a:solidFill>
                  <a:schemeClr val="tx1">
                    <a:lumMod val="85000"/>
                    <a:lumOff val="15000"/>
                  </a:schemeClr>
                </a:solidFill>
                <a:latin typeface="+mj-ea"/>
                <a:ea typeface="+mj-ea"/>
              </a:rPr>
              <a:t>БИЗНЕС-ПЛАН МАРКЕТИНГ</a:t>
            </a:r>
          </a:p>
        </p:txBody>
      </p:sp>
      <p:graphicFrame>
        <p:nvGraphicFramePr>
          <p:cNvPr id="3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6371051"/>
              </p:ext>
            </p:extLst>
          </p:nvPr>
        </p:nvGraphicFramePr>
        <p:xfrm>
          <a:off x="275926" y="994093"/>
          <a:ext cx="11042650" cy="1983629"/>
        </p:xfrm>
        <a:graphic>
          <a:graphicData uri="http://schemas.openxmlformats.org/drawingml/2006/table">
            <a:tbl>
              <a:tblPr/>
              <a:tblGrid>
                <a:gridCol w="17653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1986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31774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3198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31986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487235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Modern H Medium" pitchFamily="34" charset="-128"/>
                        </a:rPr>
                        <a:t>План  маркетинговых расходов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9AEB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1001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Период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3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kumimoji="0" lang="ru-RU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kumimoji="0" lang="ru-RU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kumimoji="0" lang="ru-RU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г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8638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Сумма</a:t>
                      </a:r>
                      <a:r>
                        <a:rPr kumimoji="0" lang="en-US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</a:t>
                      </a:r>
                      <a:r>
                        <a:rPr kumimoji="0" lang="ru-RU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руб.</a:t>
                      </a: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21920" marR="12192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8864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cc630a69-890b-4968-b5fa-7c62d0d499ee"/>
  <p:tag name="COMMONDATA" val="eyJoZGlkIjoiZWFmZjU2NTNiYWY3Yzk4YzJlYzVkNTllZGY0MDQyZjcifQ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都市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36000" tIns="36000" rIns="36000" bIns="36000" rtlCol="0" anchor="t" anchorCtr="0">
        <a:noAutofit/>
      </a:bodyPr>
      <a:lstStyle>
        <a:defPPr algn="ctr" defTabSz="914400">
          <a:lnSpc>
            <a:spcPct val="150000"/>
          </a:lnSpc>
          <a:spcBef>
            <a:spcPct val="0"/>
          </a:spcBef>
          <a:defRPr sz="2400" b="1" dirty="0" smtClean="0">
            <a:solidFill>
              <a:prstClr val="black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23</TotalTime>
  <Words>891</Words>
  <Application>Microsoft Office PowerPoint</Application>
  <PresentationFormat>宽屏</PresentationFormat>
  <Paragraphs>421</Paragraphs>
  <Slides>22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</vt:vector>
  </HeadingPairs>
  <TitlesOfParts>
    <vt:vector size="33" baseType="lpstr">
      <vt:lpstr>Hiragino Sans GB W6</vt:lpstr>
      <vt:lpstr>Modern H Medium</vt:lpstr>
      <vt:lpstr>가는각진제목체</vt:lpstr>
      <vt:lpstr>黑体</vt:lpstr>
      <vt:lpstr>宋体</vt:lpstr>
      <vt:lpstr>微软雅黑</vt:lpstr>
      <vt:lpstr>Arial</vt:lpstr>
      <vt:lpstr>Calibri</vt:lpstr>
      <vt:lpstr>Wingdings</vt:lpstr>
      <vt:lpstr>Office 主题</vt:lpstr>
      <vt:lpstr>think-cell Slide</vt:lpstr>
      <vt:lpstr>PowerPoint 演示文稿</vt:lpstr>
      <vt:lpstr>ОБЩАЯ ИНФОРМАЦИЯ О КОМПАНИИ</vt:lpstr>
      <vt:lpstr>PowerPoint 演示文稿</vt:lpstr>
      <vt:lpstr>PowerPoint 演示文稿</vt:lpstr>
      <vt:lpstr>PowerPoint 演示文稿</vt:lpstr>
      <vt:lpstr>ДАННЫЕ ПО СУЩЕСТВУЮЩЕМУ БИЗНЕСУ</vt:lpstr>
      <vt:lpstr>PowerPoint 演示文稿</vt:lpstr>
      <vt:lpstr>БИЗНЕС-ПЛАН ПОСЛЕПРОДАЖНОЕ ОСЛУЖИВАНИЕ</vt:lpstr>
      <vt:lpstr>БИЗНЕС-ПЛАН МАРКЕТИНГ</vt:lpstr>
      <vt:lpstr>PowerPoint 演示文稿</vt:lpstr>
      <vt:lpstr>ИНФОРМАЦИЯ О ПРЕДЛОЖЕНИИ</vt:lpstr>
      <vt:lpstr>PowerPoint 演示文稿</vt:lpstr>
      <vt:lpstr>КАРТА РОССИИ</vt:lpstr>
      <vt:lpstr>PowerPoint 演示文稿</vt:lpstr>
      <vt:lpstr>КАРТА РАЙОНА</vt:lpstr>
      <vt:lpstr>PowerPoint 演示文稿</vt:lpstr>
      <vt:lpstr>PowerPoint 演示文稿</vt:lpstr>
      <vt:lpstr>ПЛАНИРОВКА ДЦ 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inston Dai</dc:creator>
  <cp:lastModifiedBy>翟荣超 Rongchao Zhai (奇瑞商用车）</cp:lastModifiedBy>
  <cp:revision>3511</cp:revision>
  <cp:lastPrinted>2022-09-19T11:01:00Z</cp:lastPrinted>
  <dcterms:created xsi:type="dcterms:W3CDTF">2015-05-20T09:23:00Z</dcterms:created>
  <dcterms:modified xsi:type="dcterms:W3CDTF">2022-11-01T08:32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2A7FEAB7B01041ADBC30068AC2251DB7</vt:lpwstr>
  </property>
  <property fmtid="{D5CDD505-2E9C-101B-9397-08002B2CF9AE}" pid="3" name="KSOProductBuildVer">
    <vt:lpwstr>2052-11.1.0.12132</vt:lpwstr>
  </property>
</Properties>
</file>